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  <p:sldId id="983" r:id="rId7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3.sv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105" name="6 Rectángulo">
            <a:extLst>
              <a:ext uri="{FF2B5EF4-FFF2-40B4-BE49-F238E27FC236}">
                <a16:creationId xmlns:a16="http://schemas.microsoft.com/office/drawing/2014/main" id="{737B2084-3EDD-4E2D-99B7-6BE5A3176FFC}"/>
              </a:ext>
            </a:extLst>
          </p:cNvPr>
          <p:cNvSpPr/>
          <p:nvPr/>
        </p:nvSpPr>
        <p:spPr>
          <a:xfrm>
            <a:off x="273050" y="87025"/>
            <a:ext cx="11080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COCUC - COMPLEJO METROPOLITANO DE CÚCUTA- SAN JOSE DE CUCUTA-N. DE SANTANDER </a:t>
            </a:r>
          </a:p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106" name="28 CuadroTexto">
            <a:extLst>
              <a:ext uri="{FF2B5EF4-FFF2-40B4-BE49-F238E27FC236}">
                <a16:creationId xmlns:a16="http://schemas.microsoft.com/office/drawing/2014/main" id="{10AA2F32-F14A-4EFB-9B41-705C8858BDCD}"/>
              </a:ext>
            </a:extLst>
          </p:cNvPr>
          <p:cNvSpPr txBox="1"/>
          <p:nvPr/>
        </p:nvSpPr>
        <p:spPr>
          <a:xfrm>
            <a:off x="5506276" y="843603"/>
            <a:ext cx="5377634" cy="36933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y Mejoramiento de la infraestructura física del establecimientos penitenciarios y carcelario.</a:t>
            </a:r>
          </a:p>
        </p:txBody>
      </p:sp>
      <p:sp>
        <p:nvSpPr>
          <p:cNvPr id="107" name="CuadroTexto 42">
            <a:extLst>
              <a:ext uri="{FF2B5EF4-FFF2-40B4-BE49-F238E27FC236}">
                <a16:creationId xmlns:a16="http://schemas.microsoft.com/office/drawing/2014/main" id="{50094B1B-B8CB-4013-AB7D-1738FED6301A}"/>
              </a:ext>
            </a:extLst>
          </p:cNvPr>
          <p:cNvSpPr txBox="1"/>
          <p:nvPr/>
        </p:nvSpPr>
        <p:spPr>
          <a:xfrm>
            <a:off x="273052" y="1037045"/>
            <a:ext cx="4609341" cy="120032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icio de designación de supervisor para el proyecto 31-01-2018. 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ta de reconocimiento al alcance realizada  con el contratista de la obra e interventoría y supervisor de la USPEC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interventoría esta contratada bajo el contrato No 2180866 de acuerdo al proceso CPU 030-2017 </a:t>
            </a:r>
          </a:p>
          <a:p>
            <a:pPr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08" name="Tabla 107">
            <a:extLst>
              <a:ext uri="{FF2B5EF4-FFF2-40B4-BE49-F238E27FC236}">
                <a16:creationId xmlns:a16="http://schemas.microsoft.com/office/drawing/2014/main" id="{B75E0C4C-4BB3-419B-B73E-C52DD9666A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347254"/>
              </p:ext>
            </p:extLst>
          </p:nvPr>
        </p:nvGraphicFramePr>
        <p:xfrm>
          <a:off x="5506276" y="1504402"/>
          <a:ext cx="5377634" cy="511353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073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02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3654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9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9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Inicio Verificación técnica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 julio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Terminación – verificación técnic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 agosto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9155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IENTO Y MEJORAMIENTO DE LA INFRAESTRUCTURA FÍSICA GENERAL DE LOS ESTABLECIMIENTOS PENITENCIARIOS Y CARCELARIOS COMPLEJO METROPOLITANO DE CÚCUTA COCUC A CARGO DEL INSTITUTO NACIONAL PENITENCIARIO Y CARCELARIO – INPEC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179284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ista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ORCIO ARCOB CARCEL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9169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9633328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4.265.224.541</a:t>
                      </a:r>
                      <a:endParaRPr lang="es-CO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4129990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z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 mes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751700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ía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judicad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772057"/>
                  </a:ext>
                </a:extLst>
              </a:tr>
              <a:tr h="21365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Interventorí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86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1553"/>
                  </a:ext>
                </a:extLst>
              </a:tr>
              <a:tr h="3418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Interventoría – Grupo 3 (6 frent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372.367.184</a:t>
                      </a:r>
                      <a:endParaRPr lang="es-CO" sz="9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238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 Fase Verifica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238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6274642"/>
                  </a:ext>
                </a:extLst>
              </a:tr>
              <a:tr h="127305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9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9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a etapa de verificación, se encuentra finalizada y en proceso de aprobación por parte de la </a:t>
                      </a:r>
                      <a:r>
                        <a:rPr lang="es-CO" sz="900" kern="1200" baseline="0" dirty="0" err="1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ia</a:t>
                      </a:r>
                      <a:r>
                        <a:rPr lang="es-CO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, sin embrago ya se tiene la definición de los alcances a intervenir y el cierre financiero del proyecto</a:t>
                      </a:r>
                      <a:endParaRPr lang="es-CO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9" name="Rectangle 181">
            <a:extLst>
              <a:ext uri="{FF2B5EF4-FFF2-40B4-BE49-F238E27FC236}">
                <a16:creationId xmlns:a16="http://schemas.microsoft.com/office/drawing/2014/main" id="{1F25E126-8984-48BB-A844-3A3271E9D9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06276" y="720959"/>
            <a:ext cx="5377634" cy="136298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0" name="Rectangle 181">
            <a:extLst>
              <a:ext uri="{FF2B5EF4-FFF2-40B4-BE49-F238E27FC236}">
                <a16:creationId xmlns:a16="http://schemas.microsoft.com/office/drawing/2014/main" id="{F3F0B0ED-3BA5-4618-B6CF-FB9B0CFE06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3052" y="811035"/>
            <a:ext cx="4609341" cy="234788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1" name="Rectangle 181">
            <a:extLst>
              <a:ext uri="{FF2B5EF4-FFF2-40B4-BE49-F238E27FC236}">
                <a16:creationId xmlns:a16="http://schemas.microsoft.com/office/drawing/2014/main" id="{49777C19-41A3-4655-899B-A486EFDF1A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3050" y="2463384"/>
            <a:ext cx="4609341" cy="22307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2" name="Imagen 111">
            <a:extLst>
              <a:ext uri="{FF2B5EF4-FFF2-40B4-BE49-F238E27FC236}">
                <a16:creationId xmlns:a16="http://schemas.microsoft.com/office/drawing/2014/main" id="{971F0D74-B4EB-4495-9D8E-DF384F8E4F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371" y="2859034"/>
            <a:ext cx="3399816" cy="2311470"/>
          </a:xfrm>
          <a:prstGeom prst="rect">
            <a:avLst/>
          </a:prstGeom>
        </p:spPr>
      </p:pic>
      <p:sp>
        <p:nvSpPr>
          <p:cNvPr id="113" name="19 CuadroTexto">
            <a:extLst>
              <a:ext uri="{FF2B5EF4-FFF2-40B4-BE49-F238E27FC236}">
                <a16:creationId xmlns:a16="http://schemas.microsoft.com/office/drawing/2014/main" id="{DF1D131B-7370-4FD7-BA74-3E46782E6D6C}"/>
              </a:ext>
            </a:extLst>
          </p:cNvPr>
          <p:cNvSpPr txBox="1"/>
          <p:nvPr/>
        </p:nvSpPr>
        <p:spPr>
          <a:xfrm>
            <a:off x="273050" y="355384"/>
            <a:ext cx="809105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1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 T-762 DE 2015 Y SENTENCIA 388 DEL 2013 </a:t>
            </a:r>
            <a:endParaRPr lang="es-CO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4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273" name="19 CuadroTexto">
            <a:extLst>
              <a:ext uri="{FF2B5EF4-FFF2-40B4-BE49-F238E27FC236}">
                <a16:creationId xmlns:a16="http://schemas.microsoft.com/office/drawing/2014/main" id="{503E53A1-9392-4FDD-BBF1-BE6A3F37B380}"/>
              </a:ext>
            </a:extLst>
          </p:cNvPr>
          <p:cNvSpPr txBox="1"/>
          <p:nvPr/>
        </p:nvSpPr>
        <p:spPr>
          <a:xfrm>
            <a:off x="207664" y="1041132"/>
            <a:ext cx="809105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1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 T-762 DE 2015 Y SENTENCIA 388 DEL 2013 </a:t>
            </a:r>
            <a:endParaRPr lang="es-CO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4" name="6 Rectángulo">
            <a:extLst>
              <a:ext uri="{FF2B5EF4-FFF2-40B4-BE49-F238E27FC236}">
                <a16:creationId xmlns:a16="http://schemas.microsoft.com/office/drawing/2014/main" id="{D80E0DE2-CA05-4C66-A090-280D900D8BAF}"/>
              </a:ext>
            </a:extLst>
          </p:cNvPr>
          <p:cNvSpPr/>
          <p:nvPr/>
        </p:nvSpPr>
        <p:spPr>
          <a:xfrm>
            <a:off x="207664" y="321443"/>
            <a:ext cx="8482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MANTENIMIENTO, MEJORAMIENTO Y CONSERVACIÓN DE LA INFRAESTRUCTURA FISICA GENERAL EN EL COCUC - COMPLEJO METROPOLITANO DE CÚCUTA- SAN JOSE DE CUCUTA-N. DE SANTANDER </a:t>
            </a:r>
          </a:p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graphicFrame>
        <p:nvGraphicFramePr>
          <p:cNvPr id="275" name="Tabla 274">
            <a:extLst>
              <a:ext uri="{FF2B5EF4-FFF2-40B4-BE49-F238E27FC236}">
                <a16:creationId xmlns:a16="http://schemas.microsoft.com/office/drawing/2014/main" id="{4A53D234-7D30-4638-8711-E3E2D94142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798305"/>
              </p:ext>
            </p:extLst>
          </p:nvPr>
        </p:nvGraphicFramePr>
        <p:xfrm>
          <a:off x="295759" y="1434204"/>
          <a:ext cx="11188769" cy="154392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008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9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001">
                <a:tc>
                  <a:txBody>
                    <a:bodyPr/>
                    <a:lstStyle/>
                    <a:p>
                      <a:pPr algn="l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1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1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144">
                <a:tc>
                  <a:txBody>
                    <a:bodyPr/>
                    <a:lstStyle/>
                    <a:p>
                      <a:r>
                        <a:rPr lang="es-CO" sz="11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canc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Construcción de tres (3)  garitas  1,9 y 21</a:t>
                      </a:r>
                    </a:p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Frente eléctrico sector norte y perimetral, remplazo transformador.  </a:t>
                      </a:r>
                    </a:p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 Manteamiento e impermeabilización de cubiertas sector norte.  </a:t>
                      </a:r>
                    </a:p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Mantenimiento adecuación pasillos sector norte  </a:t>
                      </a:r>
                    </a:p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Mantenimiento y adecuación de Baterías sanitarias sector norte  pabellón 15,17 y 23</a:t>
                      </a:r>
                    </a:p>
                    <a:p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Construcción de Rampa- Entrada sector norte y salida pabellón 2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076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3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89" name="6 Rectángulo">
            <a:extLst>
              <a:ext uri="{FF2B5EF4-FFF2-40B4-BE49-F238E27FC236}">
                <a16:creationId xmlns:a16="http://schemas.microsoft.com/office/drawing/2014/main" id="{FEA079AC-03AF-4027-B55F-F633BD94E6AF}"/>
              </a:ext>
            </a:extLst>
          </p:cNvPr>
          <p:cNvSpPr/>
          <p:nvPr/>
        </p:nvSpPr>
        <p:spPr>
          <a:xfrm>
            <a:off x="260696" y="234716"/>
            <a:ext cx="107876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r>
              <a:rPr lang="es-CO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" name="Rectangle 181">
            <a:extLst>
              <a:ext uri="{FF2B5EF4-FFF2-40B4-BE49-F238E27FC236}">
                <a16:creationId xmlns:a16="http://schemas.microsoft.com/office/drawing/2014/main" id="{7249FD6C-0A1C-4578-BF81-252481D005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54" y="822751"/>
            <a:ext cx="42976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91" name="Rectangle 183">
            <a:extLst>
              <a:ext uri="{FF2B5EF4-FFF2-40B4-BE49-F238E27FC236}">
                <a16:creationId xmlns:a16="http://schemas.microsoft.com/office/drawing/2014/main" id="{5AC34BF0-EDB3-4025-941E-ABFD1E60606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139256" y="896558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92" name="Rectangle 181">
            <a:extLst>
              <a:ext uri="{FF2B5EF4-FFF2-40B4-BE49-F238E27FC236}">
                <a16:creationId xmlns:a16="http://schemas.microsoft.com/office/drawing/2014/main" id="{9EEBFDBC-492F-47C9-BA47-C88D963E10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44170" y="834890"/>
            <a:ext cx="2502611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93" name="Rectangle 184">
            <a:extLst>
              <a:ext uri="{FF2B5EF4-FFF2-40B4-BE49-F238E27FC236}">
                <a16:creationId xmlns:a16="http://schemas.microsoft.com/office/drawing/2014/main" id="{C2996676-86A9-4681-8AA9-8565BE7F68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82517" y="1142087"/>
            <a:ext cx="2502611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galización Contrato de Interventoría.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rma Acta de Inicio. 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.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. 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Rectangle 186">
            <a:extLst>
              <a:ext uri="{FF2B5EF4-FFF2-40B4-BE49-F238E27FC236}">
                <a16:creationId xmlns:a16="http://schemas.microsoft.com/office/drawing/2014/main" id="{A7CB28D3-CA3D-4259-BD21-33FF9D5E133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144227" y="1149589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Rectangle 181">
            <a:extLst>
              <a:ext uri="{FF2B5EF4-FFF2-40B4-BE49-F238E27FC236}">
                <a16:creationId xmlns:a16="http://schemas.microsoft.com/office/drawing/2014/main" id="{E91AB42D-139A-428A-9671-7662D5294D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95" y="4199014"/>
            <a:ext cx="2783277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96" name="Rectangle 181">
            <a:extLst>
              <a:ext uri="{FF2B5EF4-FFF2-40B4-BE49-F238E27FC236}">
                <a16:creationId xmlns:a16="http://schemas.microsoft.com/office/drawing/2014/main" id="{31B627CD-4993-48EB-B5FB-2216B53FA6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5938" y="4157992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grpSp>
        <p:nvGrpSpPr>
          <p:cNvPr id="97" name="Group 51">
            <a:extLst>
              <a:ext uri="{FF2B5EF4-FFF2-40B4-BE49-F238E27FC236}">
                <a16:creationId xmlns:a16="http://schemas.microsoft.com/office/drawing/2014/main" id="{C3FBAE25-5598-4A85-8BCE-F689853AD1AE}"/>
              </a:ext>
            </a:extLst>
          </p:cNvPr>
          <p:cNvGrpSpPr/>
          <p:nvPr/>
        </p:nvGrpSpPr>
        <p:grpSpPr>
          <a:xfrm>
            <a:off x="3377242" y="4185004"/>
            <a:ext cx="2926080" cy="2004343"/>
            <a:chOff x="2981481" y="4038600"/>
            <a:chExt cx="2926080" cy="2004343"/>
          </a:xfrm>
          <a:solidFill>
            <a:srgbClr val="050153"/>
          </a:solidFill>
        </p:grpSpPr>
        <p:sp>
          <p:nvSpPr>
            <p:cNvPr id="98" name="Rectangle 181">
              <a:extLst>
                <a:ext uri="{FF2B5EF4-FFF2-40B4-BE49-F238E27FC236}">
                  <a16:creationId xmlns:a16="http://schemas.microsoft.com/office/drawing/2014/main" id="{9508A19A-1965-4AF2-B285-4CE700E477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038600"/>
              <a:ext cx="2926080" cy="253525"/>
            </a:xfrm>
            <a:prstGeom prst="rect">
              <a:avLst/>
            </a:prstGeom>
            <a:grpFill/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99" name="Rectangle 178">
              <a:extLst>
                <a:ext uri="{FF2B5EF4-FFF2-40B4-BE49-F238E27FC236}">
                  <a16:creationId xmlns:a16="http://schemas.microsoft.com/office/drawing/2014/main" id="{8BF309D9-463E-457B-9214-172A87CA740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287305"/>
              <a:ext cx="2926080" cy="1755638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00" name="Rectangle 178">
            <a:extLst>
              <a:ext uri="{FF2B5EF4-FFF2-40B4-BE49-F238E27FC236}">
                <a16:creationId xmlns:a16="http://schemas.microsoft.com/office/drawing/2014/main" id="{CF8B145F-30B8-4263-B7E5-7249D602A9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95" y="4447717"/>
            <a:ext cx="278327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1" name="Rectangle 186">
            <a:extLst>
              <a:ext uri="{FF2B5EF4-FFF2-40B4-BE49-F238E27FC236}">
                <a16:creationId xmlns:a16="http://schemas.microsoft.com/office/drawing/2014/main" id="{5801EF23-C8A3-4013-8C26-66FD7954BDB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479773" y="1187417"/>
            <a:ext cx="64702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/07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/07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diente</a:t>
            </a: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2" name="Rectangle 186">
            <a:extLst>
              <a:ext uri="{FF2B5EF4-FFF2-40B4-BE49-F238E27FC236}">
                <a16:creationId xmlns:a16="http://schemas.microsoft.com/office/drawing/2014/main" id="{9D5CDE86-0BCD-4EF4-A1FC-EB5263C0931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479772" y="885288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103" name="Rectangle 186">
            <a:extLst>
              <a:ext uri="{FF2B5EF4-FFF2-40B4-BE49-F238E27FC236}">
                <a16:creationId xmlns:a16="http://schemas.microsoft.com/office/drawing/2014/main" id="{D2098F43-3CBB-4FFC-9ED9-A69E9FFFF9F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321444" y="1213984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Rectangle 186">
            <a:extLst>
              <a:ext uri="{FF2B5EF4-FFF2-40B4-BE49-F238E27FC236}">
                <a16:creationId xmlns:a16="http://schemas.microsoft.com/office/drawing/2014/main" id="{016A067C-AD32-4DC1-B3C9-DE56AC3B736B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292540" y="911855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105" name="Rectangle 178">
            <a:extLst>
              <a:ext uri="{FF2B5EF4-FFF2-40B4-BE49-F238E27FC236}">
                <a16:creationId xmlns:a16="http://schemas.microsoft.com/office/drawing/2014/main" id="{EB9586EA-343D-4C2F-BFC6-37B5C58EB2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214671"/>
            <a:ext cx="2783274" cy="4919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Teofila Banquez Supervisor FONAD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26 Elipse">
            <a:extLst>
              <a:ext uri="{FF2B5EF4-FFF2-40B4-BE49-F238E27FC236}">
                <a16:creationId xmlns:a16="http://schemas.microsoft.com/office/drawing/2014/main" id="{7EB9C525-FF31-4B59-A7E4-A8C0B2D60366}"/>
              </a:ext>
            </a:extLst>
          </p:cNvPr>
          <p:cNvSpPr/>
          <p:nvPr/>
        </p:nvSpPr>
        <p:spPr>
          <a:xfrm>
            <a:off x="9318665" y="1347340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07" name="26 Elipse">
            <a:extLst>
              <a:ext uri="{FF2B5EF4-FFF2-40B4-BE49-F238E27FC236}">
                <a16:creationId xmlns:a16="http://schemas.microsoft.com/office/drawing/2014/main" id="{303ED8E1-059F-4D86-BDD5-1B991AAB17E6}"/>
              </a:ext>
            </a:extLst>
          </p:cNvPr>
          <p:cNvSpPr/>
          <p:nvPr/>
        </p:nvSpPr>
        <p:spPr>
          <a:xfrm>
            <a:off x="9356702" y="2506922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08" name="Rectangle 178">
            <a:extLst>
              <a:ext uri="{FF2B5EF4-FFF2-40B4-BE49-F238E27FC236}">
                <a16:creationId xmlns:a16="http://schemas.microsoft.com/office/drawing/2014/main" id="{8C941BFC-0F98-4247-8433-FB47107AC5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22090" y="4434399"/>
            <a:ext cx="2969021" cy="165906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9" name="26 Elipse">
            <a:extLst>
              <a:ext uri="{FF2B5EF4-FFF2-40B4-BE49-F238E27FC236}">
                <a16:creationId xmlns:a16="http://schemas.microsoft.com/office/drawing/2014/main" id="{AD4DCE10-9B36-4C30-A898-56536991D274}"/>
              </a:ext>
            </a:extLst>
          </p:cNvPr>
          <p:cNvSpPr/>
          <p:nvPr/>
        </p:nvSpPr>
        <p:spPr>
          <a:xfrm>
            <a:off x="9322885" y="1924083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ACA50DF1-5B46-4CA5-9EB2-EB16307A3F3A}"/>
              </a:ext>
            </a:extLst>
          </p:cNvPr>
          <p:cNvSpPr/>
          <p:nvPr/>
        </p:nvSpPr>
        <p:spPr>
          <a:xfrm>
            <a:off x="3416429" y="4589087"/>
            <a:ext cx="26795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ctr"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O" sz="1000" b="1" dirty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Riesgos: posibles atrasos en ejecución de no ser entregada la documentación solicitada.</a:t>
            </a:r>
          </a:p>
          <a:p>
            <a:pPr marL="171450" indent="-171450" fontAlgn="ctr">
              <a:buFont typeface="Wingdings" panose="05000000000000000000" pitchFamily="2" charset="2"/>
              <a:buChar char="ü"/>
              <a:tabLst>
                <a:tab pos="457200" algn="l"/>
              </a:tabLst>
            </a:pPr>
            <a:endParaRPr lang="es-CO" sz="1000" b="1" dirty="0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  <a:p>
            <a:pPr marL="171450" indent="-171450" fontAlgn="ctr"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O" sz="1000" b="1" dirty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Acción: cumplimiento entrega de documentación.</a:t>
            </a:r>
          </a:p>
        </p:txBody>
      </p:sp>
      <p:grpSp>
        <p:nvGrpSpPr>
          <p:cNvPr id="130" name="Group 120">
            <a:extLst>
              <a:ext uri="{FF2B5EF4-FFF2-40B4-BE49-F238E27FC236}">
                <a16:creationId xmlns:a16="http://schemas.microsoft.com/office/drawing/2014/main" id="{955E46E2-2991-4618-8C60-09C4DBA91197}"/>
              </a:ext>
            </a:extLst>
          </p:cNvPr>
          <p:cNvGrpSpPr>
            <a:grpSpLocks/>
          </p:cNvGrpSpPr>
          <p:nvPr/>
        </p:nvGrpSpPr>
        <p:grpSpPr bwMode="auto">
          <a:xfrm>
            <a:off x="10967938" y="295093"/>
            <a:ext cx="771723" cy="1125172"/>
            <a:chOff x="3936" y="1313"/>
            <a:chExt cx="313" cy="350"/>
          </a:xfrm>
        </p:grpSpPr>
        <p:pic>
          <p:nvPicPr>
            <p:cNvPr id="131" name="Picture 121" descr="j0432549">
              <a:extLst>
                <a:ext uri="{FF2B5EF4-FFF2-40B4-BE49-F238E27FC236}">
                  <a16:creationId xmlns:a16="http://schemas.microsoft.com/office/drawing/2014/main" id="{43DDBCE1-A935-42F1-8FA7-4ED9DB87D3B5}"/>
                </a:ext>
              </a:extLst>
            </p:cNvPr>
            <p:cNvPicPr>
              <a:picLocks noChangeArrowheads="1"/>
            </p:cNvPicPr>
            <p:nvPr>
              <p:custDataLst>
                <p:tags r:id="rId2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6" y="1313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2" name="Group 122">
              <a:extLst>
                <a:ext uri="{FF2B5EF4-FFF2-40B4-BE49-F238E27FC236}">
                  <a16:creationId xmlns:a16="http://schemas.microsoft.com/office/drawing/2014/main" id="{95566594-F1E0-4459-96D7-AB32EC63564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8" y="1562"/>
              <a:ext cx="68" cy="74"/>
              <a:chOff x="5076" y="2671"/>
              <a:chExt cx="156" cy="150"/>
            </a:xfrm>
          </p:grpSpPr>
          <p:sp>
            <p:nvSpPr>
              <p:cNvPr id="136" name="Oval 123">
                <a:extLst>
                  <a:ext uri="{FF2B5EF4-FFF2-40B4-BE49-F238E27FC236}">
                    <a16:creationId xmlns:a16="http://schemas.microsoft.com/office/drawing/2014/main" id="{267D4717-6DAF-428F-8051-3604C55EEE0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76" y="2671"/>
                <a:ext cx="156" cy="150"/>
              </a:xfrm>
              <a:prstGeom prst="ellipse">
                <a:avLst/>
              </a:prstGeom>
              <a:solidFill>
                <a:srgbClr val="33CC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Oval 125">
                <a:extLst>
                  <a:ext uri="{FF2B5EF4-FFF2-40B4-BE49-F238E27FC236}">
                    <a16:creationId xmlns:a16="http://schemas.microsoft.com/office/drawing/2014/main" id="{2BBEC9EE-3E4B-4944-B712-E4DF1A51DF8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 rot="10800000">
                <a:off x="5110" y="2679"/>
                <a:ext cx="88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33" name="Group 130">
              <a:extLst>
                <a:ext uri="{FF2B5EF4-FFF2-40B4-BE49-F238E27FC236}">
                  <a16:creationId xmlns:a16="http://schemas.microsoft.com/office/drawing/2014/main" id="{B1FA4925-00F0-45A0-8463-90BD778DF8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6" y="1362"/>
              <a:ext cx="70" cy="74"/>
              <a:chOff x="3090" y="2448"/>
              <a:chExt cx="156" cy="150"/>
            </a:xfrm>
          </p:grpSpPr>
          <p:sp>
            <p:nvSpPr>
              <p:cNvPr id="134" name="Oval 131">
                <a:extLst>
                  <a:ext uri="{FF2B5EF4-FFF2-40B4-BE49-F238E27FC236}">
                    <a16:creationId xmlns:a16="http://schemas.microsoft.com/office/drawing/2014/main" id="{07A80835-491B-45AF-92A2-D0E138E338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090" y="2448"/>
                <a:ext cx="156" cy="15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Oval 133">
                <a:extLst>
                  <a:ext uri="{FF2B5EF4-FFF2-40B4-BE49-F238E27FC236}">
                    <a16:creationId xmlns:a16="http://schemas.microsoft.com/office/drawing/2014/main" id="{84AD4029-2D96-4613-858B-A03257ECCCE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 rot="10800000">
                <a:off x="3123" y="2456"/>
                <a:ext cx="90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38" name="Oval 131">
            <a:extLst>
              <a:ext uri="{FF2B5EF4-FFF2-40B4-BE49-F238E27FC236}">
                <a16:creationId xmlns:a16="http://schemas.microsoft.com/office/drawing/2014/main" id="{BD4BBC4F-F8AD-49AB-8B98-8B17CBAA43C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263804" y="788909"/>
            <a:ext cx="172591" cy="2378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62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43</TotalTime>
  <Words>451</Words>
  <Application>Microsoft Office PowerPoint</Application>
  <PresentationFormat>Panorámica</PresentationFormat>
  <Paragraphs>95</Paragraphs>
  <Slides>3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72</cp:revision>
  <cp:lastPrinted>2019-10-29T22:15:30Z</cp:lastPrinted>
  <dcterms:created xsi:type="dcterms:W3CDTF">2019-06-28T15:32:40Z</dcterms:created>
  <dcterms:modified xsi:type="dcterms:W3CDTF">2020-04-14T00:5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